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9"/>
  </p:notesMasterIdLst>
  <p:sldIdLst>
    <p:sldId id="349" r:id="rId3"/>
    <p:sldId id="2147377335" r:id="rId4"/>
    <p:sldId id="2147377351" r:id="rId5"/>
    <p:sldId id="2147377352" r:id="rId6"/>
    <p:sldId id="2147377353" r:id="rId7"/>
    <p:sldId id="2147377119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F9F9F9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A3FCEE1-53EE-4F20-8ED9-30E4A0B23EB4}" v="19" dt="2026-04-17T19:46:18.8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35" autoAdjust="0"/>
    <p:restoredTop sz="94660"/>
  </p:normalViewPr>
  <p:slideViewPr>
    <p:cSldViewPr snapToGrid="0">
      <p:cViewPr varScale="1">
        <p:scale>
          <a:sx n="83" d="100"/>
          <a:sy n="83" d="100"/>
        </p:scale>
        <p:origin x="91" y="23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122860-96A9-43C2-9F2C-B42A4E3C8951}" type="datetimeFigureOut">
              <a:rPr lang="en-US" smtClean="0"/>
              <a:t>4/17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E54AE-6CCB-4B40-964B-3D6E6B7ECD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3042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0451" y="4518943"/>
            <a:ext cx="5693913" cy="417702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4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9303DE-3E45-4DD3-9505-92EF4803EF97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999683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42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999683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999683">
                  <a:lumMod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37358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FA5AC5-4D3B-727A-D357-DE2A2C2D3B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812453-A908-61B4-C8CB-75013EE099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B18F20B-6F4A-AD06-A39C-3770CE6EA4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fluenza Wastewater Number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C11AD9-742E-DEBB-EB82-BB77954C2F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BE54AE-6CCB-4B40-964B-3D6E6B7ECD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2387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F29D30-599F-C7C0-FC1F-807C2B24C1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F962A0-C2AD-A04A-0D76-4045D165E2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CE76AF-FBE6-C130-6DFE-3CE8342D50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fluenza Wastewater Number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AFCF27-1E57-3067-9B60-E84CAB057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BE54AE-6CCB-4B40-964B-3D6E6B7ECD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48834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24AF7F-EE7E-E9F1-5176-BAD3F742E1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D919DC0-10EA-B730-AECB-8D9AA4BECF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CCA713C-463D-6105-047F-1E790F94E1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fluenza Wastewater Number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E015D6-D925-11FD-A19F-3687D1EC47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BE54AE-6CCB-4B40-964B-3D6E6B7ECD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4691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2C41DC-91F2-656C-5AF3-F302CCF7F7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4BEF5F-EA57-2E2E-96FF-E74E751783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6E5FF8-F920-7B8D-D951-6761B01656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fluenza Wastewater Number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B95AD-BA3E-8AB5-75C2-3407AB7B18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BE54AE-6CCB-4B40-964B-3D6E6B7ECD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04981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E54AE-6CCB-4B40-964B-3D6E6B7ECDF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306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7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58.xml"/><Relationship Id="rId7" Type="http://schemas.openxmlformats.org/officeDocument/2006/relationships/image" Target="../media/image6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8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9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7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1.xml"/><Relationship Id="rId5" Type="http://schemas.openxmlformats.org/officeDocument/2006/relationships/image" Target="../media/image12.png"/><Relationship Id="rId4" Type="http://schemas.openxmlformats.org/officeDocument/2006/relationships/image" Target="../media/image5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4.xml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5.xml"/><Relationship Id="rId4" Type="http://schemas.openxmlformats.org/officeDocument/2006/relationships/image" Target="../media/image2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6.xml"/><Relationship Id="rId4" Type="http://schemas.openxmlformats.org/officeDocument/2006/relationships/image" Target="../media/image2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7.xml"/><Relationship Id="rId4" Type="http://schemas.openxmlformats.org/officeDocument/2006/relationships/image" Target="../media/image2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8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9.xml"/><Relationship Id="rId4" Type="http://schemas.openxmlformats.org/officeDocument/2006/relationships/image" Target="../media/image2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2.xml"/><Relationship Id="rId4" Type="http://schemas.openxmlformats.org/officeDocument/2006/relationships/image" Target="../media/image4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3.xml"/><Relationship Id="rId4" Type="http://schemas.openxmlformats.org/officeDocument/2006/relationships/image" Target="../media/image4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4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7.xml"/><Relationship Id="rId4" Type="http://schemas.openxmlformats.org/officeDocument/2006/relationships/image" Target="../media/image4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8.xml"/><Relationship Id="rId4" Type="http://schemas.openxmlformats.org/officeDocument/2006/relationships/image" Target="../media/image4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9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0.xml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08019" y="3657600"/>
            <a:ext cx="10986811" cy="2835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4923" y="990600"/>
            <a:ext cx="10653003" cy="1504844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74923" y="2495445"/>
            <a:ext cx="10653003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BAC160FA-D207-48D3-A37E-B2D22CC2E580}" type="datetime1">
              <a:rPr lang="en-US" smtClean="0"/>
              <a:t>4/1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D3FF57B-5F25-B54A-A918-FB50C268907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36696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597457" y="599726"/>
            <a:ext cx="10984943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5FFEA5-82B8-4BE5-AA88-B3AF7EF25BAD}" type="datetime1">
              <a:rPr lang="en-US" smtClean="0"/>
              <a:t>4/1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FF57B-5F25-B54A-A918-FB50C268907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 descr="DHSS Logo Red 3D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6645" y="710978"/>
            <a:ext cx="1351280" cy="10363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77935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8839201" y="599725"/>
            <a:ext cx="2743199" cy="58169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1" y="675726"/>
            <a:ext cx="2004164" cy="51830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4923" y="675726"/>
            <a:ext cx="7896279" cy="5183073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93673" y="5956137"/>
            <a:ext cx="1263563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AE218B4E-7C24-4E15-8658-46CCA44C1E38}" type="datetime1">
              <a:rPr lang="en-US" smtClean="0"/>
              <a:t>4/1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74923" y="5951811"/>
            <a:ext cx="7896279" cy="365125"/>
          </a:xfrm>
        </p:spPr>
        <p:txBody>
          <a:bodyPr/>
          <a:lstStyle/>
          <a:p>
            <a:r>
              <a:rPr lang="en-US"/>
              <a:t>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D3FF57B-5F25-B54A-A918-FB50C268907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092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4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80474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831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 flipH="1">
            <a:off x="0" y="0"/>
            <a:ext cx="12192000" cy="527685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8260" y="5858936"/>
            <a:ext cx="2830824" cy="419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040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3623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36670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207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80106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672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8970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0730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74438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0277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4383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300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032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597457" y="599726"/>
            <a:ext cx="10984943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4923" y="2228004"/>
            <a:ext cx="10653003" cy="36307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FFB6DBB-1878-418A-8FAC-F5923ABAAFB0}" type="datetime1">
              <a:rPr lang="en-US" smtClean="0"/>
              <a:t>4/1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541C6-75BC-4360-B680-4A647707B817}" type="slidenum">
              <a:rPr lang="en-US" altLang="en-US" smtClean="0"/>
              <a:pPr/>
              <a:t>‹#›</a:t>
            </a:fld>
            <a:endParaRPr lang="en-US" altLang="en-US"/>
          </a:p>
        </p:txBody>
      </p:sp>
      <p:pic>
        <p:nvPicPr>
          <p:cNvPr id="8" name="Picture 7" descr="DHSS Logo Red 3D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6645" y="4822478"/>
            <a:ext cx="1351280" cy="10363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086154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616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31338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5889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28011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4989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0723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4204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47026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4136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967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4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10409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68186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6242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2275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07117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3136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612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8001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4557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603529" y="5141974"/>
            <a:ext cx="10984943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4925" y="3036573"/>
            <a:ext cx="10653001" cy="1504844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4925" y="4541417"/>
            <a:ext cx="10653001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640DEB97-14BD-4483-8280-B61B54E70350}" type="datetime1">
              <a:rPr lang="en-US" smtClean="0"/>
              <a:t>4/1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D3FF57B-5F25-B54A-A918-FB50C268907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DHSS Logo Red 3D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9596" y="858393"/>
            <a:ext cx="2402841" cy="183870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20093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731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0104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5434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4159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5485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493101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4916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402516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4313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35980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880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61554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915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0711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7987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84946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0842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defRPr lang="en-US" sz="9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defRPr lang="en-US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defRPr lang="en-US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defRPr lang="en-US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defRPr lang="en-US" sz="9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Insert Disclaimer here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 dirty="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ea typeface="+mn-ea"/>
                <a:cs typeface="+mn-cs"/>
                <a:sym typeface="+mn-lt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4295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6073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722" y="2709226"/>
            <a:ext cx="9718556" cy="1439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195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597457" y="599726"/>
            <a:ext cx="10984943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74924" y="2228003"/>
            <a:ext cx="5199369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9728" y="2228004"/>
            <a:ext cx="5210216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73074-E624-4369-9D6A-754378A5E773}" type="datetime1">
              <a:rPr lang="en-US" smtClean="0"/>
              <a:t>4/17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400635" y="5956137"/>
            <a:ext cx="1027291" cy="365125"/>
          </a:xfrm>
        </p:spPr>
        <p:txBody>
          <a:bodyPr/>
          <a:lstStyle/>
          <a:p>
            <a:fld id="{DD3FF57B-5F25-B54A-A918-FB50C268907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96569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4302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67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090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 flipH="1">
            <a:off x="0" y="0"/>
            <a:ext cx="12192000" cy="527685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8260" y="5858936"/>
            <a:ext cx="2830824" cy="419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257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2845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0844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79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665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44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16110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5103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58790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2426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7132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5036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07448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6703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4647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3023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1987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spect="1"/>
          </p:cNvSpPr>
          <p:nvPr/>
        </p:nvSpPr>
        <p:spPr>
          <a:xfrm>
            <a:off x="597457" y="599726"/>
            <a:ext cx="10984943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82959" y="2228003"/>
            <a:ext cx="4791333" cy="576262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74924" y="2926052"/>
            <a:ext cx="5199369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25745" y="2228003"/>
            <a:ext cx="4802180" cy="576262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709" y="2926052"/>
            <a:ext cx="5210216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F78AA-F949-472F-9072-6DA6E14E4015}" type="datetime1">
              <a:rPr lang="en-US" smtClean="0"/>
              <a:t>4/17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FF57B-5F25-B54A-A918-FB50C268907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 descr="DHSS Logo Red 3D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6644" y="4812030"/>
            <a:ext cx="1351280" cy="10363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3441941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4596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06234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3979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10435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0713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02626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9370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337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87013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0783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381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7376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92859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7621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881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9246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18908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044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9898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spect="1"/>
          </p:cNvSpPr>
          <p:nvPr/>
        </p:nvSpPr>
        <p:spPr>
          <a:xfrm>
            <a:off x="597457" y="599726"/>
            <a:ext cx="10984943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2F47E-DFF2-4526-AF92-010C2F91B656}" type="datetime1">
              <a:rPr lang="en-US" smtClean="0"/>
              <a:t>4/17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FF57B-5F25-B54A-A918-FB50C268907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 descr="DHSS Logo Red 3D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3579" y="4915490"/>
            <a:ext cx="1351280" cy="10363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033467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5459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4825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4164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376322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960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075887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054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79603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81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7119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4121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6702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7433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954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9764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94980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0500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 dirty="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ea typeface="+mn-ea"/>
                <a:cs typeface="+mn-cs"/>
                <a:sym typeface="+mn-lt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defRPr lang="en-US" sz="9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defRPr lang="en-US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defRPr lang="en-US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defRPr lang="en-US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defRPr lang="en-US" sz="9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Insert Disclaimer here</a:t>
            </a:r>
          </a:p>
        </p:txBody>
      </p:sp>
    </p:spTree>
    <p:extLst>
      <p:ext uri="{BB962C8B-B14F-4D97-AF65-F5344CB8AC3E}">
        <p14:creationId xmlns:p14="http://schemas.microsoft.com/office/powerpoint/2010/main" val="46640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385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722" y="2709226"/>
            <a:ext cx="9718556" cy="1439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417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8D8659-8CFA-45D2-B511-E7D1DBA81CFE}" type="datetime1">
              <a:rPr lang="en-US" smtClean="0"/>
              <a:t>4/17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FF57B-5F25-B54A-A918-FB50C268907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DHSS Logo Red 3D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000" y="1752600"/>
            <a:ext cx="3962400" cy="28651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03062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2782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8009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6869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7655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3947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45765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4516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559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9016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86023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9022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0319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80268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1875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30473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8219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691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54514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76034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2992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603529" y="5141973"/>
            <a:ext cx="10984943" cy="12747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137" y="5262296"/>
            <a:ext cx="4715500" cy="689514"/>
          </a:xfrm>
        </p:spPr>
        <p:txBody>
          <a:bodyPr anchor="ctr"/>
          <a:lstStyle>
            <a:lvl1pPr algn="l">
              <a:defRPr sz="2000" b="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5199" y="601200"/>
            <a:ext cx="10987200" cy="4204800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40823" y="5262296"/>
            <a:ext cx="5687103" cy="689515"/>
          </a:xfrm>
        </p:spPr>
        <p:txBody>
          <a:bodyPr anchor="ctr">
            <a:norm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A5CB466B-36E5-4A73-881D-05AB9E5CE9F3}" type="datetime1">
              <a:rPr lang="en-US" smtClean="0"/>
              <a:t>4/17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draf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D3FF57B-5F25-B54A-A918-FB50C268907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 descr="DHSS Logo Red 3D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6645" y="3761110"/>
            <a:ext cx="1351280" cy="10363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5617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4923" y="4693389"/>
            <a:ext cx="10653003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97458" y="599725"/>
            <a:ext cx="10984941" cy="3557252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4923" y="5260127"/>
            <a:ext cx="10653003" cy="59867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E4DF0-0E23-43D2-A740-7EAEFFA5824A}" type="datetime1">
              <a:rPr lang="en-US" smtClean="0"/>
              <a:t>4/17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FF57B-5F25-B54A-A918-FB50C268907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DHSS Logo Red 3D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285" y="5616212"/>
            <a:ext cx="1351280" cy="10363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02133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33.xml"/><Relationship Id="rId42" Type="http://schemas.openxmlformats.org/officeDocument/2006/relationships/slideLayout" Target="../slideLayouts/slideLayout54.xml"/><Relationship Id="rId47" Type="http://schemas.openxmlformats.org/officeDocument/2006/relationships/slideLayout" Target="../slideLayouts/slideLayout59.xml"/><Relationship Id="rId63" Type="http://schemas.openxmlformats.org/officeDocument/2006/relationships/slideLayout" Target="../slideLayouts/slideLayout75.xml"/><Relationship Id="rId68" Type="http://schemas.openxmlformats.org/officeDocument/2006/relationships/theme" Target="../theme/theme2.xml"/><Relationship Id="rId7" Type="http://schemas.openxmlformats.org/officeDocument/2006/relationships/slideLayout" Target="../slideLayouts/slideLayout19.xml"/><Relationship Id="rId71" Type="http://schemas.openxmlformats.org/officeDocument/2006/relationships/oleObject" Target="../embeddings/oleObject2.bin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slideLayout" Target="../slideLayouts/slideLayout57.xml"/><Relationship Id="rId53" Type="http://schemas.openxmlformats.org/officeDocument/2006/relationships/slideLayout" Target="../slideLayouts/slideLayout65.xml"/><Relationship Id="rId58" Type="http://schemas.openxmlformats.org/officeDocument/2006/relationships/slideLayout" Target="../slideLayouts/slideLayout70.xml"/><Relationship Id="rId66" Type="http://schemas.openxmlformats.org/officeDocument/2006/relationships/slideLayout" Target="../slideLayouts/slideLayout78.xml"/><Relationship Id="rId5" Type="http://schemas.openxmlformats.org/officeDocument/2006/relationships/slideLayout" Target="../slideLayouts/slideLayout17.xml"/><Relationship Id="rId61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slideLayout" Target="../slideLayouts/slideLayout55.xml"/><Relationship Id="rId48" Type="http://schemas.openxmlformats.org/officeDocument/2006/relationships/slideLayout" Target="../slideLayouts/slideLayout60.xml"/><Relationship Id="rId56" Type="http://schemas.openxmlformats.org/officeDocument/2006/relationships/slideLayout" Target="../slideLayouts/slideLayout68.xml"/><Relationship Id="rId64" Type="http://schemas.openxmlformats.org/officeDocument/2006/relationships/slideLayout" Target="../slideLayouts/slideLayout76.xml"/><Relationship Id="rId69" Type="http://schemas.openxmlformats.org/officeDocument/2006/relationships/tags" Target="../tags/tag3.xml"/><Relationship Id="rId8" Type="http://schemas.openxmlformats.org/officeDocument/2006/relationships/slideLayout" Target="../slideLayouts/slideLayout20.xml"/><Relationship Id="rId51" Type="http://schemas.openxmlformats.org/officeDocument/2006/relationships/slideLayout" Target="../slideLayouts/slideLayout63.xml"/><Relationship Id="rId72" Type="http://schemas.openxmlformats.org/officeDocument/2006/relationships/image" Target="../media/image4.emf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slideLayout" Target="../slideLayouts/slideLayout58.xml"/><Relationship Id="rId59" Type="http://schemas.openxmlformats.org/officeDocument/2006/relationships/slideLayout" Target="../slideLayouts/slideLayout71.xml"/><Relationship Id="rId67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53.xml"/><Relationship Id="rId54" Type="http://schemas.openxmlformats.org/officeDocument/2006/relationships/slideLayout" Target="../slideLayouts/slideLayout66.xml"/><Relationship Id="rId62" Type="http://schemas.openxmlformats.org/officeDocument/2006/relationships/slideLayout" Target="../slideLayouts/slideLayout74.xml"/><Relationship Id="rId70" Type="http://schemas.openxmlformats.org/officeDocument/2006/relationships/tags" Target="../tags/tag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49" Type="http://schemas.openxmlformats.org/officeDocument/2006/relationships/slideLayout" Target="../slideLayouts/slideLayout61.xml"/><Relationship Id="rId57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22.xml"/><Relationship Id="rId31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56.xml"/><Relationship Id="rId52" Type="http://schemas.openxmlformats.org/officeDocument/2006/relationships/slideLayout" Target="../slideLayouts/slideLayout64.xml"/><Relationship Id="rId60" Type="http://schemas.openxmlformats.org/officeDocument/2006/relationships/slideLayout" Target="../slideLayouts/slideLayout72.xml"/><Relationship Id="rId65" Type="http://schemas.openxmlformats.org/officeDocument/2006/relationships/slideLayout" Target="../slideLayouts/slideLayout77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9" Type="http://schemas.openxmlformats.org/officeDocument/2006/relationships/slideLayout" Target="../slideLayouts/slideLayout51.xml"/><Relationship Id="rId34" Type="http://schemas.openxmlformats.org/officeDocument/2006/relationships/slideLayout" Target="../slideLayouts/slideLayout46.xml"/><Relationship Id="rId50" Type="http://schemas.openxmlformats.org/officeDocument/2006/relationships/slideLayout" Target="../slideLayouts/slideLayout62.xml"/><Relationship Id="rId55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74923" y="687475"/>
            <a:ext cx="10653003" cy="10833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4923" y="2228003"/>
            <a:ext cx="10653003" cy="36307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12436" y="595613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B1449F68-FF12-43F9-9EC1-AE713EF20332}" type="datetime1">
              <a:rPr lang="en-US" smtClean="0"/>
              <a:t>4/1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4924" y="5951811"/>
            <a:ext cx="64941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accent2"/>
                </a:solidFill>
              </a:defRPr>
            </a:lvl1pPr>
          </a:lstStyle>
          <a:p>
            <a:r>
              <a:rPr lang="en-US"/>
              <a:t>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00635" y="5956137"/>
            <a:ext cx="10272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DD3FF57B-5F25-B54A-A918-FB50C268907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597456" y="441325"/>
            <a:ext cx="3626545" cy="10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7968001" y="441325"/>
            <a:ext cx="3614400" cy="10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4288801" y="441325"/>
            <a:ext cx="3614400" cy="10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205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741" r:id="rId12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cap="all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2382326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108060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700" r:id="rId27"/>
    <p:sldLayoutId id="2147483701" r:id="rId28"/>
    <p:sldLayoutId id="2147483702" r:id="rId29"/>
    <p:sldLayoutId id="2147483703" r:id="rId30"/>
    <p:sldLayoutId id="2147483704" r:id="rId31"/>
    <p:sldLayoutId id="2147483705" r:id="rId32"/>
    <p:sldLayoutId id="2147483706" r:id="rId33"/>
    <p:sldLayoutId id="2147483707" r:id="rId34"/>
    <p:sldLayoutId id="2147483708" r:id="rId35"/>
    <p:sldLayoutId id="2147483709" r:id="rId36"/>
    <p:sldLayoutId id="2147483710" r:id="rId37"/>
    <p:sldLayoutId id="2147483711" r:id="rId38"/>
    <p:sldLayoutId id="2147483712" r:id="rId39"/>
    <p:sldLayoutId id="2147483713" r:id="rId40"/>
    <p:sldLayoutId id="2147483714" r:id="rId41"/>
    <p:sldLayoutId id="2147483715" r:id="rId42"/>
    <p:sldLayoutId id="2147483716" r:id="rId43"/>
    <p:sldLayoutId id="2147483717" r:id="rId44"/>
    <p:sldLayoutId id="2147483718" r:id="rId45"/>
    <p:sldLayoutId id="2147483719" r:id="rId46"/>
    <p:sldLayoutId id="2147483720" r:id="rId47"/>
    <p:sldLayoutId id="2147483721" r:id="rId48"/>
    <p:sldLayoutId id="2147483722" r:id="rId49"/>
    <p:sldLayoutId id="2147483723" r:id="rId50"/>
    <p:sldLayoutId id="2147483724" r:id="rId51"/>
    <p:sldLayoutId id="2147483725" r:id="rId52"/>
    <p:sldLayoutId id="2147483726" r:id="rId53"/>
    <p:sldLayoutId id="2147483727" r:id="rId54"/>
    <p:sldLayoutId id="2147483728" r:id="rId55"/>
    <p:sldLayoutId id="2147483729" r:id="rId56"/>
    <p:sldLayoutId id="2147483730" r:id="rId57"/>
    <p:sldLayoutId id="2147483731" r:id="rId58"/>
    <p:sldLayoutId id="2147483732" r:id="rId59"/>
    <p:sldLayoutId id="2147483733" r:id="rId60"/>
    <p:sldLayoutId id="2147483734" r:id="rId61"/>
    <p:sldLayoutId id="2147483735" r:id="rId62"/>
    <p:sldLayoutId id="2147483736" r:id="rId63"/>
    <p:sldLayoutId id="2147483737" r:id="rId64"/>
    <p:sldLayoutId id="2147483738" r:id="rId65"/>
    <p:sldLayoutId id="2147483739" r:id="rId66"/>
    <p:sldLayoutId id="2147483740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696265" y="1000328"/>
            <a:ext cx="10653003" cy="1504844"/>
          </a:xfrm>
        </p:spPr>
        <p:txBody>
          <a:bodyPr>
            <a:normAutofit/>
          </a:bodyPr>
          <a:lstStyle/>
          <a:p>
            <a:pPr algn="ctr"/>
            <a:r>
              <a:rPr lang="en-US" b="1" dirty="0"/>
              <a:t>The future look of public health</a:t>
            </a:r>
            <a:br>
              <a:rPr lang="en-US" b="1" dirty="0"/>
            </a:br>
            <a:r>
              <a:rPr lang="en-US" b="1" dirty="0"/>
              <a:t> in </a:t>
            </a:r>
            <a:r>
              <a:rPr lang="en-US" b="1" dirty="0" err="1"/>
              <a:t>delaware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3FF57B-5F25-B54A-A918-FB50C2689073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7B2334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7B2334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9DC820-4835-4B01-A00B-59CC76740F53}"/>
              </a:ext>
            </a:extLst>
          </p:cNvPr>
          <p:cNvSpPr txBox="1"/>
          <p:nvPr/>
        </p:nvSpPr>
        <p:spPr>
          <a:xfrm>
            <a:off x="941710" y="3856024"/>
            <a:ext cx="78163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ill Sans MT" panose="020B0502020104020203"/>
                <a:ea typeface="+mn-ea"/>
                <a:cs typeface="+mn-cs"/>
              </a:rPr>
              <a:t>Director Steven Blessing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D4640E0-71B9-4C6A-BDE7-A2E547A77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8778" y="2758682"/>
            <a:ext cx="10653003" cy="590321"/>
          </a:xfrm>
        </p:spPr>
        <p:txBody>
          <a:bodyPr>
            <a:normAutofit/>
          </a:bodyPr>
          <a:lstStyle/>
          <a:p>
            <a:r>
              <a:rPr lang="en-US" sz="2800" dirty="0"/>
              <a:t>April 20, 2026</a:t>
            </a:r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AA96B0DF-2274-44E6-8402-54F8C702DB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908" y="5635259"/>
            <a:ext cx="4120867" cy="626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5803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4A45C2-01A2-2714-3646-FE3B1CC6C1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8600AC2-4AF4-4441-E5D8-BD64CAA661CC}"/>
              </a:ext>
            </a:extLst>
          </p:cNvPr>
          <p:cNvSpPr/>
          <p:nvPr/>
        </p:nvSpPr>
        <p:spPr>
          <a:xfrm>
            <a:off x="9923489" y="4601980"/>
            <a:ext cx="1504437" cy="13541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EC5FCD-3613-67C4-F2E1-0FC051FA4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3868" y="-201540"/>
            <a:ext cx="10864263" cy="1370700"/>
          </a:xfrm>
        </p:spPr>
        <p:txBody>
          <a:bodyPr>
            <a:normAutofit/>
          </a:bodyPr>
          <a:lstStyle/>
          <a:p>
            <a:r>
              <a:rPr lang="en-US" b="1" dirty="0"/>
              <a:t>The challenges in public health today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80C4D6-F457-1448-9A6F-70A27FE3A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3FF57B-5F25-B54A-A918-FB50C2689073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48141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8141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50A99-D6E6-10E6-2A60-E5482775F032}"/>
              </a:ext>
            </a:extLst>
          </p:cNvPr>
          <p:cNvSpPr/>
          <p:nvPr/>
        </p:nvSpPr>
        <p:spPr>
          <a:xfrm>
            <a:off x="11115040" y="5956137"/>
            <a:ext cx="307460" cy="2989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F65EE0-7347-2673-E3BB-ACA784F079D3}"/>
              </a:ext>
            </a:extLst>
          </p:cNvPr>
          <p:cNvSpPr/>
          <p:nvPr/>
        </p:nvSpPr>
        <p:spPr>
          <a:xfrm>
            <a:off x="415387" y="1384344"/>
            <a:ext cx="11602387" cy="7297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E41546A-73EB-AEE1-AFBC-C77D4E070402}"/>
              </a:ext>
            </a:extLst>
          </p:cNvPr>
          <p:cNvSpPr txBox="1"/>
          <p:nvPr/>
        </p:nvSpPr>
        <p:spPr>
          <a:xfrm>
            <a:off x="606518" y="1749195"/>
            <a:ext cx="10509199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A changing federal landscape has resulted in the need to change the statewide structur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Policy change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Workforce shift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Filling the gap</a:t>
            </a: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 </a:t>
            </a:r>
            <a:b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</a:br>
            <a:endParaRPr lang="en-US" sz="2400" dirty="0">
              <a:effectLst/>
              <a:latin typeface="Nunito Sans" pitchFamily="2" charset="0"/>
              <a:ea typeface="PMingLiU" panose="02020500000000000000" pitchFamily="18" charset="-120"/>
              <a:cs typeface="PMingLiU" panose="02020500000000000000" pitchFamily="18" charset="-12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Financial challenges are more present than ever as grants and other federal funding have disappeared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Evaluating service offering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Meeting needs with less money</a:t>
            </a:r>
            <a:endParaRPr lang="en-US" sz="2400" dirty="0">
              <a:effectLst/>
              <a:latin typeface="Nunito Sans" pitchFamily="2" charset="0"/>
              <a:ea typeface="PMingLiU" panose="02020500000000000000" pitchFamily="18" charset="-120"/>
              <a:cs typeface="PMingLiU" panose="02020500000000000000" pitchFamily="18" charset="-120"/>
            </a:endParaRPr>
          </a:p>
          <a:p>
            <a:endParaRPr lang="en-US" sz="1200" dirty="0">
              <a:effectLst/>
              <a:latin typeface="Nunito Sans" pitchFamily="2" charset="0"/>
              <a:ea typeface="PMingLiU" panose="02020500000000000000" pitchFamily="18" charset="-120"/>
              <a:cs typeface="PMingLiU" panose="02020500000000000000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182672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EB59E-850A-39F8-0DC3-9577D16702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44C9AF0-7EBE-1D30-0B59-04C9312B825A}"/>
              </a:ext>
            </a:extLst>
          </p:cNvPr>
          <p:cNvSpPr/>
          <p:nvPr/>
        </p:nvSpPr>
        <p:spPr>
          <a:xfrm>
            <a:off x="9923489" y="4601980"/>
            <a:ext cx="1504437" cy="13541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B22A5B-2EEA-009F-D3FD-7026863333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3868" y="-201540"/>
            <a:ext cx="10864263" cy="1370700"/>
          </a:xfrm>
        </p:spPr>
        <p:txBody>
          <a:bodyPr>
            <a:normAutofit/>
          </a:bodyPr>
          <a:lstStyle/>
          <a:p>
            <a:r>
              <a:rPr lang="en-US" b="1" dirty="0"/>
              <a:t>What we’re doing right now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3AAC28-AADA-E960-18DB-7181CAEEC9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3FF57B-5F25-B54A-A918-FB50C2689073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48141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8141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FA828D-380B-5D0B-3ABC-FF38F2E32DF7}"/>
              </a:ext>
            </a:extLst>
          </p:cNvPr>
          <p:cNvSpPr/>
          <p:nvPr/>
        </p:nvSpPr>
        <p:spPr>
          <a:xfrm>
            <a:off x="11115040" y="5956137"/>
            <a:ext cx="307460" cy="2989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8B29716-9DC7-9234-0DE0-669329FCD99D}"/>
              </a:ext>
            </a:extLst>
          </p:cNvPr>
          <p:cNvSpPr/>
          <p:nvPr/>
        </p:nvSpPr>
        <p:spPr>
          <a:xfrm>
            <a:off x="415387" y="1384344"/>
            <a:ext cx="11602387" cy="7297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B4B5355-1ED7-AE07-CDD3-EFAE0AC3F6E8}"/>
              </a:ext>
            </a:extLst>
          </p:cNvPr>
          <p:cNvSpPr txBox="1"/>
          <p:nvPr/>
        </p:nvSpPr>
        <p:spPr>
          <a:xfrm>
            <a:off x="605841" y="1638663"/>
            <a:ext cx="10509199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Program integration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Breaking down silo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Better internal communication</a:t>
            </a:r>
          </a:p>
          <a:p>
            <a:endParaRPr lang="en-US" sz="2400" dirty="0">
              <a:latin typeface="Nunito Sans" pitchFamily="2" charset="0"/>
              <a:ea typeface="PMingLiU" panose="02020500000000000000" pitchFamily="18" charset="-120"/>
              <a:cs typeface="PMingLiU" panose="02020500000000000000" pitchFamily="18" charset="-12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Acknowledging and understanding the vital condition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Recognizing the barriers to health service and health equity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Bringing those to the table who </a:t>
            </a:r>
            <a:r>
              <a:rPr lang="en-US" sz="2400" dirty="0"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have a part in all the vital conditions</a:t>
            </a:r>
            <a:endParaRPr lang="en-US" sz="2400" dirty="0">
              <a:effectLst/>
              <a:latin typeface="Nunito Sans" pitchFamily="2" charset="0"/>
              <a:ea typeface="PMingLiU" panose="02020500000000000000" pitchFamily="18" charset="-120"/>
              <a:cs typeface="PMingLiU" panose="02020500000000000000" pitchFamily="18" charset="-12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latin typeface="Nunito Sans" pitchFamily="2" charset="0"/>
              <a:ea typeface="PMingLiU" panose="02020500000000000000" pitchFamily="18" charset="-120"/>
              <a:cs typeface="PMingLiU" panose="02020500000000000000" pitchFamily="18" charset="-12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A holistic approach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Enhancing collaboration in all sectors – both in public health and outside public health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Using the breakdown of silos to refer individuals to other services</a:t>
            </a:r>
          </a:p>
          <a:p>
            <a:endParaRPr lang="en-US" sz="1200" dirty="0">
              <a:effectLst/>
              <a:latin typeface="Nunito Sans" pitchFamily="2" charset="0"/>
              <a:ea typeface="PMingLiU" panose="02020500000000000000" pitchFamily="18" charset="-120"/>
              <a:cs typeface="PMingLiU" panose="02020500000000000000" pitchFamily="18" charset="-120"/>
            </a:endParaRPr>
          </a:p>
        </p:txBody>
      </p:sp>
      <p:pic>
        <p:nvPicPr>
          <p:cNvPr id="1026" name="Picture 2" descr="Seven Vital Conditions for Health and Well-Being - Community Commons">
            <a:extLst>
              <a:ext uri="{FF2B5EF4-FFF2-40B4-BE49-F238E27FC236}">
                <a16:creationId xmlns:a16="http://schemas.microsoft.com/office/drawing/2014/main" id="{E3FD97D9-9210-814E-DA1E-D4340947BA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387" y="1527930"/>
            <a:ext cx="11423898" cy="4965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1227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45589D-C97B-E85F-905A-A10150E036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9D67576-70B4-0A1C-A42A-F9A27AD0470E}"/>
              </a:ext>
            </a:extLst>
          </p:cNvPr>
          <p:cNvSpPr/>
          <p:nvPr/>
        </p:nvSpPr>
        <p:spPr>
          <a:xfrm>
            <a:off x="9923489" y="4601980"/>
            <a:ext cx="1504437" cy="13541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02B89C-D1C8-2394-AB24-A02AB053B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3868" y="-201540"/>
            <a:ext cx="10864263" cy="1370700"/>
          </a:xfrm>
        </p:spPr>
        <p:txBody>
          <a:bodyPr>
            <a:normAutofit/>
          </a:bodyPr>
          <a:lstStyle/>
          <a:p>
            <a:r>
              <a:rPr lang="en-US" b="1" dirty="0"/>
              <a:t>The future of public health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7FC6629-9AC4-E537-1536-13CF5A9B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3FF57B-5F25-B54A-A918-FB50C2689073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48141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8141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28C6919-9AD6-0847-BDDB-B65B60B85D8B}"/>
              </a:ext>
            </a:extLst>
          </p:cNvPr>
          <p:cNvSpPr/>
          <p:nvPr/>
        </p:nvSpPr>
        <p:spPr>
          <a:xfrm>
            <a:off x="11115040" y="5956137"/>
            <a:ext cx="307460" cy="2989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22FDB2F-2EFF-15E1-5904-B51AA6E97FFA}"/>
              </a:ext>
            </a:extLst>
          </p:cNvPr>
          <p:cNvSpPr/>
          <p:nvPr/>
        </p:nvSpPr>
        <p:spPr>
          <a:xfrm>
            <a:off x="415387" y="1384344"/>
            <a:ext cx="11602387" cy="7297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659869-E1F4-6671-6296-F6A06A9876B5}"/>
              </a:ext>
            </a:extLst>
          </p:cNvPr>
          <p:cNvSpPr txBox="1"/>
          <p:nvPr/>
        </p:nvSpPr>
        <p:spPr>
          <a:xfrm>
            <a:off x="605841" y="1638663"/>
            <a:ext cx="10509199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The goal will always remain to meet people where they live, work, and play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We need to adapt as those things change into the future.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Expand services to new areas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Bring new programs to fruition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Cultivate relationships with those we serve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Recognize changing landscapes and areas of concern </a:t>
            </a:r>
          </a:p>
          <a:p>
            <a:endParaRPr lang="en-US" sz="1200" dirty="0">
              <a:effectLst/>
              <a:latin typeface="Nunito Sans" pitchFamily="2" charset="0"/>
              <a:ea typeface="PMingLiU" panose="02020500000000000000" pitchFamily="18" charset="-120"/>
              <a:cs typeface="PMingLiU" panose="02020500000000000000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0499086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F10B0A-E824-CC8F-4F1B-9C77565FB4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B2AD56-7820-1618-C3B5-463FBA5A1FDC}"/>
              </a:ext>
            </a:extLst>
          </p:cNvPr>
          <p:cNvSpPr/>
          <p:nvPr/>
        </p:nvSpPr>
        <p:spPr>
          <a:xfrm>
            <a:off x="9923489" y="4601980"/>
            <a:ext cx="1504437" cy="13541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927B8C-1336-782D-B5EA-31FF87DCB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3868" y="-201540"/>
            <a:ext cx="10864263" cy="1370700"/>
          </a:xfrm>
        </p:spPr>
        <p:txBody>
          <a:bodyPr>
            <a:normAutofit/>
          </a:bodyPr>
          <a:lstStyle/>
          <a:p>
            <a:r>
              <a:rPr lang="en-US" b="1" dirty="0"/>
              <a:t>The role of the cancer consortium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3CFFD1-0673-2B9A-6918-08E33498B9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3FF57B-5F25-B54A-A918-FB50C2689073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48141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8141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2D4C8F9-716B-4A13-4A31-127091E7DA25}"/>
              </a:ext>
            </a:extLst>
          </p:cNvPr>
          <p:cNvSpPr/>
          <p:nvPr/>
        </p:nvSpPr>
        <p:spPr>
          <a:xfrm>
            <a:off x="11115040" y="5956137"/>
            <a:ext cx="307460" cy="2989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119377-D7E6-B8DD-7CE7-659CB5AEFD29}"/>
              </a:ext>
            </a:extLst>
          </p:cNvPr>
          <p:cNvSpPr/>
          <p:nvPr/>
        </p:nvSpPr>
        <p:spPr>
          <a:xfrm>
            <a:off x="415387" y="1384344"/>
            <a:ext cx="11602387" cy="7297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1C36D88-EE1D-53D2-A2D9-408DD6A4BCFD}"/>
              </a:ext>
            </a:extLst>
          </p:cNvPr>
          <p:cNvSpPr txBox="1"/>
          <p:nvPr/>
        </p:nvSpPr>
        <p:spPr>
          <a:xfrm>
            <a:off x="605841" y="1638663"/>
            <a:ext cx="10509199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Cancer screening, detection, and treatment are all closely linked to the DPH holistic appro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latin typeface="Nunito Sans" pitchFamily="2" charset="0"/>
              <a:ea typeface="PMingLiU" panose="02020500000000000000" pitchFamily="18" charset="-120"/>
              <a:cs typeface="PMingLiU" panose="02020500000000000000" pitchFamily="18" charset="-12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We are exploring new opportunities for funding and expansion of program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effectLst/>
              <a:latin typeface="Nunito Sans" pitchFamily="2" charset="0"/>
              <a:ea typeface="PMingLiU" panose="02020500000000000000" pitchFamily="18" charset="-120"/>
              <a:cs typeface="PMingLiU" panose="02020500000000000000" pitchFamily="18" charset="-12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Nunito Sans" pitchFamily="2" charset="0"/>
                <a:ea typeface="PMingLiU" panose="02020500000000000000" pitchFamily="18" charset="-120"/>
                <a:cs typeface="PMingLiU" panose="02020500000000000000" pitchFamily="18" charset="-120"/>
              </a:rPr>
              <a:t>Progress requires all of us – our partners, supporters, and friends.</a:t>
            </a:r>
            <a:endParaRPr lang="en-US" sz="2400" dirty="0">
              <a:effectLst/>
              <a:latin typeface="Nunito Sans" pitchFamily="2" charset="0"/>
              <a:ea typeface="PMingLiU" panose="02020500000000000000" pitchFamily="18" charset="-120"/>
              <a:cs typeface="PMingLiU" panose="02020500000000000000" pitchFamily="18" charset="-120"/>
            </a:endParaRPr>
          </a:p>
          <a:p>
            <a:endParaRPr lang="en-US" sz="1200" dirty="0">
              <a:effectLst/>
              <a:latin typeface="Nunito Sans" pitchFamily="2" charset="0"/>
              <a:ea typeface="PMingLiU" panose="02020500000000000000" pitchFamily="18" charset="-120"/>
              <a:cs typeface="PMingLiU" panose="02020500000000000000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8588025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F47BE39-6B25-0DAA-3B97-40CA32210922}"/>
              </a:ext>
            </a:extLst>
          </p:cNvPr>
          <p:cNvSpPr/>
          <p:nvPr/>
        </p:nvSpPr>
        <p:spPr>
          <a:xfrm>
            <a:off x="5395582" y="1558809"/>
            <a:ext cx="5497531" cy="230832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endParaRPr lang="en-US" sz="3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algn="ctr"/>
            <a:r>
              <a:rPr lang="en-U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Thank you for all you do.</a:t>
            </a:r>
          </a:p>
          <a:p>
            <a:pPr algn="ctr"/>
            <a:endParaRPr lang="en-US" sz="3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algn="ctr"/>
            <a:r>
              <a:rPr lang="en-US" sz="3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Stay healthy and safe!</a:t>
            </a:r>
            <a:endParaRPr lang="en-U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29CF5D59-F4BA-040A-0CAE-786D769910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046" y="3157925"/>
            <a:ext cx="3566777" cy="54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457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kJaetKPtisQuEkjAhoh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4QT4hgM7JWGH7qXgWYk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6Nq.0.xDr98KdUObL82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JMFkONxVL1eKVHBEQ0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kv8uSxVQxYRjVtXh5G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bX1ZkgJ4jcM4N6D8EO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TT044JID81zxWmwEjf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Ofbvo9pdq.2tTiwhdzH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Cfq2PdfZmsAqAa4N0Pi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YjFyE6V7K_yKnCHCA1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jtlHQg0.6n2bQRfze7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G70QN_FBq_HdAlZRxA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Xz7v5BcpE02f.KLgnP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Ofbvo9pdq.2tTiwhdzH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zerd5HHLf024_GZWww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zN9HXCz6aQCZPvrmxO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z1FB224JC5J5JDI4RJw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npIg2TPeowgDuKq_Do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bOLky7rVx5al_HHx9u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8SaPngQ6wOZ45a63bsR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KFCMxWwl6TUoutn_jU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u_iTBA9rBYkX5DwvWLO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1IUD1jTvjru_QElmIwR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b1BJx4XGTnv99weqpt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k9QtvPsl2JdKzkhK1rY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4EEGEq8m89gLThSskpo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Rz9I8LlERGQlMjOicG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oIU0HGJEoqDlsfSWWQ9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1692JC9E9Ygl_ULxxzu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hjt1xaRucPIoKNWS5I2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SQmUwpaNPLCDNUI8NaV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FcL7gRTE48kxXBvMf9L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9yp3Vp_ykbhb6CliOwd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QjSPD_oKhAJSSQxl6Xc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Cl11g9ppO47saB3hBs_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LZbpTu3eT6oSdzNgDOs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PipZ9bxD8.Kig6Q123M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Dxbfh4LD5mdgQqXwy4M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GXcfCT.36zWlZwVR2E8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6yADzE.bzsiewo92fxb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veXJpa.PPTrvSp5W6yI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mECOzXxSU06BnzJgwX.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0GPrNBZngswZoVSDEk4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s08fxVtvou8Cu021.CY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1veTO7756Ehs9OX2r6X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197m8glv8yoKPutGie_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iswbhneDK7qxS5XiirA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Kara DHSS">
  <a:themeElements>
    <a:clrScheme name="Custom 2">
      <a:dk1>
        <a:sysClr val="windowText" lastClr="000000"/>
      </a:dk1>
      <a:lt1>
        <a:sysClr val="window" lastClr="FFFFFF"/>
      </a:lt1>
      <a:dk2>
        <a:srgbClr val="3D3D3D"/>
      </a:dk2>
      <a:lt2>
        <a:srgbClr val="EBEBEB"/>
      </a:lt2>
      <a:accent1>
        <a:srgbClr val="6F1F2E"/>
      </a:accent1>
      <a:accent2>
        <a:srgbClr val="48141E"/>
      </a:accent2>
      <a:accent3>
        <a:srgbClr val="66B1CE"/>
      </a:accent3>
      <a:accent4>
        <a:srgbClr val="969FA7"/>
      </a:accent4>
      <a:accent5>
        <a:srgbClr val="66B1CE"/>
      </a:accent5>
      <a:accent6>
        <a:srgbClr val="40619D"/>
      </a:accent6>
      <a:hlink>
        <a:srgbClr val="828282"/>
      </a:hlink>
      <a:folHlink>
        <a:srgbClr val="A5A5A5"/>
      </a:folHlink>
    </a:clrScheme>
    <a:fontScheme name="Dividend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ara DHSS" id="{F02942D3-ED83-4A43-9686-560F33F8BC63}" vid="{613DBA36-AC9A-4581-8C69-A590BFE5BADB}"/>
    </a:ext>
  </a:extLst>
</a:theme>
</file>

<file path=ppt/theme/theme2.xml><?xml version="1.0" encoding="utf-8"?>
<a:theme xmlns:a="http://schemas.openxmlformats.org/drawingml/2006/main" name="2_Delaware.gov">
  <a:themeElements>
    <a:clrScheme name="Custom 17">
      <a:dk1>
        <a:srgbClr val="020202"/>
      </a:dk1>
      <a:lt1>
        <a:sysClr val="window" lastClr="FFFFFF"/>
      </a:lt1>
      <a:dk2>
        <a:srgbClr val="6F1F2E"/>
      </a:dk2>
      <a:lt2>
        <a:srgbClr val="F2F2F2"/>
      </a:lt2>
      <a:accent1>
        <a:srgbClr val="2C0B12"/>
      </a:accent1>
      <a:accent2>
        <a:srgbClr val="581824"/>
      </a:accent2>
      <a:accent3>
        <a:srgbClr val="7CCEEF"/>
      </a:accent3>
      <a:accent4>
        <a:srgbClr val="CC4861"/>
      </a:accent4>
      <a:accent5>
        <a:srgbClr val="969FA7"/>
      </a:accent5>
      <a:accent6>
        <a:srgbClr val="1A3B64"/>
      </a:accent6>
      <a:hlink>
        <a:srgbClr val="007B85"/>
      </a:hlink>
      <a:folHlink>
        <a:srgbClr val="A66C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263</TotalTime>
  <Words>279</Words>
  <Application>Microsoft Office PowerPoint</Application>
  <PresentationFormat>Widescreen</PresentationFormat>
  <Paragraphs>56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Gill Sans MT</vt:lpstr>
      <vt:lpstr>Nunito Sans</vt:lpstr>
      <vt:lpstr>Trebuchet MS</vt:lpstr>
      <vt:lpstr>Wingdings 2</vt:lpstr>
      <vt:lpstr>1_Kara DHSS</vt:lpstr>
      <vt:lpstr>2_Delaware.gov</vt:lpstr>
      <vt:lpstr>think-cell Slide</vt:lpstr>
      <vt:lpstr>The future look of public health  in delaware</vt:lpstr>
      <vt:lpstr>The challenges in public health today</vt:lpstr>
      <vt:lpstr>What we’re doing right now</vt:lpstr>
      <vt:lpstr>The future of public health</vt:lpstr>
      <vt:lpstr>The role of the cancer consortium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ID-19 vaccine communications subcommittee meeting</dc:title>
  <dc:creator>Wojcik, Andrea (DHSS)</dc:creator>
  <cp:lastModifiedBy>Callahan, Kelly (DHSS)</cp:lastModifiedBy>
  <cp:revision>87</cp:revision>
  <dcterms:created xsi:type="dcterms:W3CDTF">2023-02-14T13:53:22Z</dcterms:created>
  <dcterms:modified xsi:type="dcterms:W3CDTF">2026-04-17T19:46:50Z</dcterms:modified>
</cp:coreProperties>
</file>